
<file path=[Content_Types].xml><?xml version="1.0" encoding="utf-8"?>
<Types xmlns="http://schemas.openxmlformats.org/package/2006/content-types"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58" r:id="rId2"/>
    <p:sldId id="364" r:id="rId3"/>
    <p:sldId id="395" r:id="rId4"/>
    <p:sldId id="388" r:id="rId5"/>
    <p:sldId id="367" r:id="rId6"/>
    <p:sldId id="376" r:id="rId7"/>
    <p:sldId id="393" r:id="rId8"/>
    <p:sldId id="378" r:id="rId9"/>
    <p:sldId id="383" r:id="rId10"/>
    <p:sldId id="375" r:id="rId11"/>
    <p:sldId id="384" r:id="rId12"/>
    <p:sldId id="394" r:id="rId13"/>
    <p:sldId id="389" r:id="rId14"/>
    <p:sldId id="386" r:id="rId15"/>
    <p:sldId id="390" r:id="rId16"/>
    <p:sldId id="387" r:id="rId17"/>
    <p:sldId id="391" r:id="rId18"/>
    <p:sldId id="392" r:id="rId19"/>
    <p:sldId id="382" r:id="rId20"/>
    <p:sldId id="371" r:id="rId21"/>
  </p:sldIdLst>
  <p:sldSz cx="12192000" cy="6858000"/>
  <p:notesSz cx="6799263" cy="9929813"/>
  <p:custDataLst>
    <p:tags r:id="rId2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1D227AE-223C-41D3-84C6-F8BAD8CDC3C7}">
          <p14:sldIdLst>
            <p14:sldId id="258"/>
            <p14:sldId id="364"/>
            <p14:sldId id="395"/>
            <p14:sldId id="388"/>
            <p14:sldId id="367"/>
            <p14:sldId id="376"/>
            <p14:sldId id="393"/>
            <p14:sldId id="378"/>
            <p14:sldId id="383"/>
            <p14:sldId id="375"/>
            <p14:sldId id="384"/>
            <p14:sldId id="394"/>
            <p14:sldId id="389"/>
            <p14:sldId id="386"/>
            <p14:sldId id="390"/>
            <p14:sldId id="387"/>
            <p14:sldId id="391"/>
            <p14:sldId id="392"/>
            <p14:sldId id="382"/>
            <p14:sldId id="3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ebert" initials="s" lastIdx="2" clrIdx="0"/>
  <p:cmAuthor id="1" name="Tim Janke" initials="TJ" lastIdx="2" clrIdx="1">
    <p:extLst>
      <p:ext uri="{19B8F6BF-5375-455C-9EA6-DF929625EA0E}">
        <p15:presenceInfo xmlns:p15="http://schemas.microsoft.com/office/powerpoint/2012/main" userId="49c425d44c9d030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9D"/>
    <a:srgbClr val="006256"/>
    <a:srgbClr val="008877"/>
    <a:srgbClr val="53B5FF"/>
    <a:srgbClr val="00CCB4"/>
    <a:srgbClr val="00F6D9"/>
    <a:srgbClr val="FFFF66"/>
    <a:srgbClr val="B90F22"/>
    <a:srgbClr val="C7E1FF"/>
    <a:srgbClr val="FFF7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04" autoAdjust="0"/>
    <p:restoredTop sz="83137" autoAdjust="0"/>
  </p:normalViewPr>
  <p:slideViewPr>
    <p:cSldViewPr snapToObjects="1">
      <p:cViewPr>
        <p:scale>
          <a:sx n="75" d="100"/>
          <a:sy n="75" d="100"/>
        </p:scale>
        <p:origin x="965" y="-139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96"/>
    </p:cViewPr>
  </p:sorterViewPr>
  <p:notesViewPr>
    <p:cSldViewPr snapToObjects="1">
      <p:cViewPr varScale="1">
        <p:scale>
          <a:sx n="80" d="100"/>
          <a:sy n="80" d="100"/>
        </p:scale>
        <p:origin x="316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88870" y="420638"/>
            <a:ext cx="5357567" cy="424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7994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88870" y="9304028"/>
            <a:ext cx="1318931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A32DC80D-291A-4ABB-A78B-0417274A267C}" type="datetime4">
              <a:rPr lang="de-DE"/>
              <a:pPr/>
              <a:t>18. Oktober 2023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07800" y="9304028"/>
            <a:ext cx="442581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47783" y="9304028"/>
            <a:ext cx="664187" cy="282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91235" y="391332"/>
            <a:ext cx="920734" cy="45339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188869" y="9226451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187295" y="844724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83367" y="391332"/>
            <a:ext cx="927029" cy="456840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7295" y="9431600"/>
            <a:ext cx="1605382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fld id="{065B079B-E513-489A-8A1B-D7C78493EA86}" type="datetime4">
              <a:rPr lang="de-DE"/>
              <a:pPr/>
              <a:t>18. Oktober 2023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5450" y="1003300"/>
            <a:ext cx="5929313" cy="3335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88869" y="4652877"/>
            <a:ext cx="6421526" cy="4651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792677" y="9431600"/>
            <a:ext cx="4070114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862791" y="9431600"/>
            <a:ext cx="934899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7" rIns="91435" bIns="45717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88870" y="420639"/>
            <a:ext cx="5357567" cy="42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7994" tIns="0" rIns="0" bIns="0" anchor="ctr"/>
          <a:lstStyle/>
          <a:p>
            <a:pPr>
              <a:lnSpc>
                <a:spcPts val="1300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188869" y="194804"/>
            <a:ext cx="6423101" cy="156877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5" tIns="45717" rIns="91435" bIns="45717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188869" y="391332"/>
            <a:ext cx="6423101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88869" y="848172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188869" y="9431599"/>
            <a:ext cx="6423101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187295" y="4456349"/>
            <a:ext cx="6423100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 lIns="91435" tIns="45717" rIns="91435" bIns="45717"/>
          <a:lstStyle/>
          <a:p>
            <a:endParaRPr lang="de-DE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6. </a:t>
            </a:r>
            <a:r>
              <a:rPr lang="en-US" dirty="0" err="1">
                <a:latin typeface="Stafford" pitchFamily="2" charset="0"/>
              </a:rPr>
              <a:t>Juli</a:t>
            </a:r>
            <a:r>
              <a:rPr lang="en-US" dirty="0">
                <a:latin typeface="Stafford" pitchFamily="2" charset="0"/>
              </a:rPr>
              <a:t> 2012</a:t>
            </a:r>
          </a:p>
        </p:txBody>
      </p:sp>
      <p:sp>
        <p:nvSpPr>
          <p:cNvPr id="29699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r>
              <a:rPr lang="en-US" dirty="0" err="1">
                <a:latin typeface="Stafford" pitchFamily="2" charset="0"/>
              </a:rPr>
              <a:t>Fachbereich</a:t>
            </a:r>
            <a:r>
              <a:rPr lang="en-US" dirty="0">
                <a:latin typeface="Stafford" pitchFamily="2" charset="0"/>
              </a:rPr>
              <a:t>  -  </a:t>
            </a:r>
            <a:r>
              <a:rPr lang="en-US" dirty="0" err="1">
                <a:latin typeface="Stafford" pitchFamily="2" charset="0"/>
              </a:rPr>
              <a:t>Dekanat</a:t>
            </a:r>
            <a:r>
              <a:rPr lang="en-US" dirty="0">
                <a:latin typeface="Stafford" pitchFamily="2" charset="0"/>
              </a:rPr>
              <a:t> | </a:t>
            </a:r>
            <a:r>
              <a:rPr lang="en-US" dirty="0" err="1">
                <a:latin typeface="Stafford" pitchFamily="2" charset="0"/>
              </a:rPr>
              <a:t>Absolventenfeier</a:t>
            </a:r>
            <a:r>
              <a:rPr lang="en-US" dirty="0">
                <a:latin typeface="Stafford" pitchFamily="2" charset="0"/>
              </a:rPr>
              <a:t> SS 2012</a:t>
            </a:r>
          </a:p>
        </p:txBody>
      </p:sp>
      <p:sp>
        <p:nvSpPr>
          <p:cNvPr id="2970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05" indent="-28573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931" indent="-22858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104" indent="-22858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277" indent="-22858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449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622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795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967" indent="-228586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latin typeface="Stafford" pitchFamily="2" charset="0"/>
              </a:rPr>
              <a:t>|  </a:t>
            </a:r>
            <a:fld id="{CB5420F2-BEFB-4935-ABB8-F884B5F216C1}" type="slidenum">
              <a:rPr lang="en-US" smtClean="0">
                <a:latin typeface="Stafford" pitchFamily="2" charset="0"/>
              </a:rPr>
              <a:pPr eaLnBrk="1" hangingPunct="1"/>
              <a:t>1</a:t>
            </a:fld>
            <a:endParaRPr lang="en-US" dirty="0">
              <a:latin typeface="Stafford" pitchFamily="2" charset="0"/>
            </a:endParaRPr>
          </a:p>
        </p:txBody>
      </p:sp>
      <p:sp>
        <p:nvSpPr>
          <p:cNvPr id="297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7038" y="1003300"/>
            <a:ext cx="5927725" cy="3335338"/>
          </a:xfrm>
          <a:ln/>
        </p:spPr>
      </p:sp>
      <p:sp>
        <p:nvSpPr>
          <p:cNvPr id="2970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5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nimation wegmachen :( 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8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79848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adeleistung </a:t>
            </a:r>
            <a:r>
              <a:rPr lang="de-DE" dirty="0" err="1"/>
              <a:t>erlkären</a:t>
            </a:r>
            <a:endParaRPr lang="de-DE" dirty="0"/>
          </a:p>
          <a:p>
            <a:r>
              <a:rPr lang="de-DE" dirty="0"/>
              <a:t>Anzahl an </a:t>
            </a:r>
            <a:r>
              <a:rPr lang="de-DE" dirty="0" err="1"/>
              <a:t>entities</a:t>
            </a:r>
            <a:r>
              <a:rPr lang="de-DE" dirty="0"/>
              <a:t> nenn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8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9396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8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74422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ssere </a:t>
            </a:r>
            <a:r>
              <a:rPr lang="de-DE" dirty="0" err="1"/>
              <a:t>storyli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8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3908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ssere </a:t>
            </a:r>
            <a:r>
              <a:rPr lang="de-DE" dirty="0" err="1"/>
              <a:t>storyli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8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88313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8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70268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odell genauer erklären -&gt; was ist meine </a:t>
            </a:r>
            <a:r>
              <a:rPr lang="de-DE" dirty="0" err="1"/>
              <a:t>contribution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Gif</a:t>
            </a:r>
            <a:r>
              <a:rPr lang="de-DE" dirty="0"/>
              <a:t> von </a:t>
            </a:r>
            <a:r>
              <a:rPr lang="de-DE" dirty="0" err="1"/>
              <a:t>state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</a:t>
            </a:r>
            <a:r>
              <a:rPr lang="de-DE" dirty="0" err="1"/>
              <a:t>sir</a:t>
            </a:r>
            <a:endParaRPr lang="de-DE" dirty="0"/>
          </a:p>
          <a:p>
            <a:r>
              <a:rPr lang="de-DE" dirty="0"/>
              <a:t>Betonen: </a:t>
            </a:r>
            <a:r>
              <a:rPr lang="de-DE" dirty="0" err="1"/>
              <a:t>epidemologisches</a:t>
            </a:r>
            <a:r>
              <a:rPr lang="de-DE" dirty="0"/>
              <a:t> Modell -&gt; </a:t>
            </a:r>
            <a:r>
              <a:rPr lang="de-DE" dirty="0" err="1"/>
              <a:t>information</a:t>
            </a:r>
            <a:r>
              <a:rPr lang="de-DE" dirty="0"/>
              <a:t> ist eine </a:t>
            </a:r>
            <a:r>
              <a:rPr lang="de-DE" dirty="0" err="1"/>
              <a:t>infek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8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4616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Graphbasiertes</a:t>
            </a:r>
            <a:r>
              <a:rPr lang="de-DE" dirty="0"/>
              <a:t> </a:t>
            </a:r>
            <a:r>
              <a:rPr lang="de-DE" dirty="0" err="1"/>
              <a:t>sir</a:t>
            </a:r>
            <a:r>
              <a:rPr lang="de-DE" dirty="0"/>
              <a:t> erklär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8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43875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ower </a:t>
            </a:r>
            <a:r>
              <a:rPr lang="de-DE" dirty="0" err="1"/>
              <a:t>calculation</a:t>
            </a:r>
            <a:r>
              <a:rPr lang="de-DE" dirty="0"/>
              <a:t> auch gut erklären</a:t>
            </a:r>
          </a:p>
          <a:p>
            <a:r>
              <a:rPr lang="de-DE" dirty="0"/>
              <a:t>Und </a:t>
            </a:r>
            <a:r>
              <a:rPr lang="de-DE" dirty="0" err="1"/>
              <a:t>assumption</a:t>
            </a:r>
            <a:endParaRPr lang="de-DE" dirty="0"/>
          </a:p>
          <a:p>
            <a:endParaRPr lang="de-DE" dirty="0"/>
          </a:p>
          <a:p>
            <a:r>
              <a:rPr lang="de-DE" dirty="0"/>
              <a:t>Zweite </a:t>
            </a:r>
            <a:r>
              <a:rPr lang="de-DE" dirty="0" err="1"/>
              <a:t>assumption</a:t>
            </a:r>
            <a:r>
              <a:rPr lang="de-DE" dirty="0"/>
              <a:t> nicht erklär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8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85251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ean </a:t>
            </a:r>
            <a:r>
              <a:rPr lang="de-DE" dirty="0" err="1"/>
              <a:t>field</a:t>
            </a:r>
            <a:r>
              <a:rPr lang="de-DE" dirty="0"/>
              <a:t> </a:t>
            </a:r>
            <a:r>
              <a:rPr lang="de-DE" dirty="0" err="1"/>
              <a:t>theory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8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68312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adeleistung </a:t>
            </a:r>
            <a:r>
              <a:rPr lang="de-DE" dirty="0" err="1"/>
              <a:t>erlkären</a:t>
            </a:r>
            <a:endParaRPr lang="de-DE" dirty="0"/>
          </a:p>
          <a:p>
            <a:r>
              <a:rPr lang="de-DE" dirty="0"/>
              <a:t>Anzahl an </a:t>
            </a:r>
            <a:r>
              <a:rPr lang="de-DE" dirty="0" err="1"/>
              <a:t>entities</a:t>
            </a:r>
            <a:r>
              <a:rPr lang="de-DE" dirty="0"/>
              <a:t> nenn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65B079B-E513-489A-8A1B-D7C78493EA86}" type="datetime4">
              <a:rPr lang="de-DE" smtClean="0"/>
              <a:pPr/>
              <a:t>18. Oktober 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5889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334436" y="368300"/>
            <a:ext cx="11523133" cy="2089150"/>
          </a:xfrm>
          <a:prstGeom prst="rect">
            <a:avLst/>
          </a:prstGeom>
          <a:solidFill>
            <a:srgbClr val="00887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dirty="0">
              <a:latin typeface="Tahoma" pitchFamily="34" charset="0"/>
            </a:endParaRPr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449388"/>
            <a:ext cx="8856156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pic>
        <p:nvPicPr>
          <p:cNvPr id="87049" name="Picture 9" descr="tud_logo"/>
          <p:cNvPicPr>
            <a:picLocks noChangeArrowheads="1"/>
          </p:cNvPicPr>
          <p:nvPr/>
        </p:nvPicPr>
        <p:blipFill>
          <a:blip r:embed="rId2" cstate="print"/>
          <a:srcRect r="5453"/>
          <a:stretch>
            <a:fillRect/>
          </a:stretch>
        </p:blipFill>
        <p:spPr bwMode="auto">
          <a:xfrm>
            <a:off x="10031683" y="628162"/>
            <a:ext cx="1837944" cy="777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055" name="Line 15"/>
          <p:cNvSpPr>
            <a:spLocks noChangeShapeType="1"/>
          </p:cNvSpPr>
          <p:nvPr/>
        </p:nvSpPr>
        <p:spPr bwMode="auto">
          <a:xfrm>
            <a:off x="336551" y="6357958"/>
            <a:ext cx="1152101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8" name="Rectangle 18"/>
          <p:cNvSpPr>
            <a:spLocks noChangeArrowheads="1"/>
          </p:cNvSpPr>
          <p:nvPr/>
        </p:nvSpPr>
        <p:spPr bwMode="auto">
          <a:xfrm>
            <a:off x="334437" y="36036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87059" name="Rectangle 19"/>
          <p:cNvSpPr>
            <a:spLocks noChangeArrowheads="1"/>
          </p:cNvSpPr>
          <p:nvPr/>
        </p:nvSpPr>
        <p:spPr bwMode="auto">
          <a:xfrm>
            <a:off x="334437" y="2457450"/>
            <a:ext cx="11521017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Fußzeilenplatzhalter 3"/>
          <p:cNvSpPr txBox="1">
            <a:spLocks/>
          </p:cNvSpPr>
          <p:nvPr userDrawn="1"/>
        </p:nvSpPr>
        <p:spPr>
          <a:xfrm>
            <a:off x="336551" y="6489705"/>
            <a:ext cx="96012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TU Darmstadt | Energy Information Networks &amp; Systems | Prof. Dr. Florian Steink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17" name="Rechteck 16"/>
          <p:cNvSpPr/>
          <p:nvPr userDrawn="1"/>
        </p:nvSpPr>
        <p:spPr bwMode="auto">
          <a:xfrm>
            <a:off x="10019623" y="1596514"/>
            <a:ext cx="1837944" cy="7772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2951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harter" pitchFamily="2" charset="0"/>
              <a:cs typeface="Arial" charset="0"/>
            </a:endParaRPr>
          </a:p>
        </p:txBody>
      </p:sp>
      <p:pic>
        <p:nvPicPr>
          <p:cNvPr id="18" name="Picture 182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50555" y="1729697"/>
            <a:ext cx="1600200" cy="521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35360" y="1620000"/>
            <a:ext cx="11521280" cy="4689320"/>
          </a:xfrm>
        </p:spPr>
        <p:txBody>
          <a:bodyPr/>
          <a:lstStyle>
            <a:lvl1pPr marL="180000" indent="0">
              <a:defRPr b="1"/>
            </a:lvl1pPr>
            <a:lvl2pPr marL="444500" indent="-261938">
              <a:buSzPct val="125000"/>
              <a:buFont typeface="Arial" pitchFamily="34" charset="0"/>
              <a:buChar char="•"/>
              <a:defRPr/>
            </a:lvl2pPr>
            <a:lvl3pPr marL="576000" indent="-216000">
              <a:buFont typeface="Arial" pitchFamily="34" charset="0"/>
              <a:buChar char="•"/>
              <a:defRPr/>
            </a:lvl3pPr>
            <a:lvl4pPr marL="756000" indent="-173038">
              <a:buFont typeface="Arial" pitchFamily="34" charset="0"/>
              <a:buChar char="•"/>
              <a:defRPr/>
            </a:lvl4pPr>
            <a:lvl5pPr marL="972000" indent="-188913"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7" y="4406905"/>
            <a:ext cx="8561940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7" y="2906713"/>
            <a:ext cx="856194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8368" y="1592268"/>
            <a:ext cx="5513917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81753" y="1592268"/>
            <a:ext cx="5473699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-48683" y="554"/>
            <a:ext cx="122406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323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43493" y="1620000"/>
            <a:ext cx="6667547" cy="468932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8368" y="1620000"/>
            <a:ext cx="4142317" cy="468932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78367" y="488950"/>
            <a:ext cx="912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1787" y="1412875"/>
            <a:ext cx="10943167" cy="44505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52060649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334436" y="368300"/>
            <a:ext cx="1152313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488950"/>
            <a:ext cx="8856156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0001" y="1620000"/>
            <a:ext cx="11375451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334436" y="196855"/>
            <a:ext cx="11523133" cy="144463"/>
          </a:xfrm>
          <a:prstGeom prst="rect">
            <a:avLst/>
          </a:prstGeom>
          <a:solidFill>
            <a:srgbClr val="008877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rrowheads="1"/>
          </p:cNvPicPr>
          <p:nvPr/>
        </p:nvPicPr>
        <p:blipFill>
          <a:blip r:embed="rId11" cstate="print"/>
          <a:srcRect r="5453"/>
          <a:stretch>
            <a:fillRect/>
          </a:stretch>
        </p:blipFill>
        <p:spPr bwMode="auto">
          <a:xfrm>
            <a:off x="9980931" y="488950"/>
            <a:ext cx="187452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334437" y="1449388"/>
            <a:ext cx="11521017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334437" y="366718"/>
            <a:ext cx="11521017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017D4F87-CB5E-435E-ADBB-D22E197AE94C}"/>
              </a:ext>
            </a:extLst>
          </p:cNvPr>
          <p:cNvSpPr txBox="1">
            <a:spLocks/>
          </p:cNvSpPr>
          <p:nvPr userDrawn="1"/>
        </p:nvSpPr>
        <p:spPr>
          <a:xfrm>
            <a:off x="2254251" y="6491516"/>
            <a:ext cx="9601200" cy="231775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9B2640-8CD7-45FF-9440-54608BC46479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0" r:id="rId7"/>
    <p:sldLayoutId id="2147483656" r:id="rId8"/>
    <p:sldLayoutId id="2147483699" r:id="rId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ahoma" pitchFamily="34" charset="0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Tahoma" pitchFamily="34" charset="0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Tahoma" pitchFamily="34" charset="0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Tahoma" pitchFamily="34" charset="0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7.png"/><Relationship Id="rId3" Type="http://schemas.openxmlformats.org/officeDocument/2006/relationships/image" Target="../media/image10.png"/><Relationship Id="rId7" Type="http://schemas.openxmlformats.org/officeDocument/2006/relationships/image" Target="../media/image15.png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svg"/><Relationship Id="rId11" Type="http://schemas.openxmlformats.org/officeDocument/2006/relationships/image" Target="../media/image151.png"/><Relationship Id="rId5" Type="http://schemas.openxmlformats.org/officeDocument/2006/relationships/image" Target="../media/image12.png"/><Relationship Id="rId15" Type="http://schemas.openxmlformats.org/officeDocument/2006/relationships/image" Target="../media/image19.png"/><Relationship Id="rId10" Type="http://schemas.openxmlformats.org/officeDocument/2006/relationships/image" Target="../media/image140.png"/><Relationship Id="rId4" Type="http://schemas.openxmlformats.org/officeDocument/2006/relationships/image" Target="../media/image11.svg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8367" y="1555750"/>
            <a:ext cx="8856156" cy="838200"/>
          </a:xfrm>
        </p:spPr>
        <p:txBody>
          <a:bodyPr/>
          <a:lstStyle/>
          <a:p>
            <a:r>
              <a:rPr lang="de-DE" dirty="0"/>
              <a:t>Master Thesis </a:t>
            </a:r>
            <a:r>
              <a:rPr lang="en-US" dirty="0"/>
              <a:t>of</a:t>
            </a:r>
            <a:r>
              <a:rPr lang="de-DE" dirty="0"/>
              <a:t> Isabella N. Grieser</a:t>
            </a:r>
            <a:endParaRPr lang="en-US" dirty="0"/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dirty="0"/>
              <a:t>Modelling and Analysis of Human Behavior Impacts on Energy Systems during Crisis Events</a:t>
            </a:r>
          </a:p>
        </p:txBody>
      </p:sp>
    </p:spTree>
    <p:extLst>
      <p:ext uri="{BB962C8B-B14F-4D97-AF65-F5344CB8AC3E}">
        <p14:creationId xmlns:p14="http://schemas.microsoft.com/office/powerpoint/2010/main" val="20613919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F701A3-2404-A9B8-5FC9-0D63435EE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506065" cy="838200"/>
          </a:xfrm>
        </p:spPr>
        <p:txBody>
          <a:bodyPr/>
          <a:lstStyle/>
          <a:p>
            <a:r>
              <a:rPr lang="en-US" dirty="0"/>
              <a:t>Proposal for a Prediction Framework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B28EB07E-CC38-E24E-53EC-81F655433E4E}"/>
              </a:ext>
            </a:extLst>
          </p:cNvPr>
          <p:cNvSpPr/>
          <p:nvPr/>
        </p:nvSpPr>
        <p:spPr>
          <a:xfrm>
            <a:off x="3359696" y="3163463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Predict</a:t>
            </a:r>
            <a:r>
              <a:rPr lang="de-DE" dirty="0"/>
              <a:t> Model Parameters</a:t>
            </a: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BB0B4EA5-878D-8271-7D1C-1A082934784C}"/>
              </a:ext>
            </a:extLst>
          </p:cNvPr>
          <p:cNvSpPr/>
          <p:nvPr/>
        </p:nvSpPr>
        <p:spPr>
          <a:xfrm>
            <a:off x="5935284" y="3163463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Run Simulation</a:t>
            </a: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3449728B-672D-7AB6-C2EF-B996874FD672}"/>
              </a:ext>
            </a:extLst>
          </p:cNvPr>
          <p:cNvSpPr/>
          <p:nvPr/>
        </p:nvSpPr>
        <p:spPr>
          <a:xfrm>
            <a:off x="8510872" y="3163463"/>
            <a:ext cx="2825012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Power Demand </a:t>
            </a:r>
            <a:r>
              <a:rPr lang="de-DE" dirty="0" err="1"/>
              <a:t>critical</a:t>
            </a:r>
            <a:r>
              <a:rPr lang="de-DE" dirty="0"/>
              <a:t>?</a:t>
            </a:r>
          </a:p>
          <a:p>
            <a:pPr algn="ctr"/>
            <a:r>
              <a:rPr lang="de-DE" dirty="0"/>
              <a:t>Yes/</a:t>
            </a:r>
            <a:r>
              <a:rPr lang="de-DE" dirty="0" err="1"/>
              <a:t>No</a:t>
            </a:r>
            <a:r>
              <a:rPr lang="de-DE" dirty="0"/>
              <a:t> 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107CD90-56BD-70A1-F07C-BAEB2EE1908E}"/>
              </a:ext>
            </a:extLst>
          </p:cNvPr>
          <p:cNvCxnSpPr>
            <a:stCxn id="11" idx="3"/>
            <a:endCxn id="16" idx="1"/>
          </p:cNvCxnSpPr>
          <p:nvPr/>
        </p:nvCxnSpPr>
        <p:spPr>
          <a:xfrm>
            <a:off x="5591944" y="3645326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7012A44-74F4-634C-DE6C-BF6BEEF6118B}"/>
              </a:ext>
            </a:extLst>
          </p:cNvPr>
          <p:cNvCxnSpPr>
            <a:cxnSpLocks/>
            <a:stCxn id="16" idx="3"/>
            <a:endCxn id="17" idx="1"/>
          </p:cNvCxnSpPr>
          <p:nvPr/>
        </p:nvCxnSpPr>
        <p:spPr>
          <a:xfrm>
            <a:off x="8167532" y="3645326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BCF21B9B-E3F0-3CAD-6880-898CD2388701}"/>
              </a:ext>
            </a:extLst>
          </p:cNvPr>
          <p:cNvSpPr/>
          <p:nvPr/>
        </p:nvSpPr>
        <p:spPr>
          <a:xfrm>
            <a:off x="784108" y="3163463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 err="1"/>
              <a:t>Collect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 Posts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C70F2CF7-B3EA-D2E6-B8EB-9E63240484BB}"/>
              </a:ext>
            </a:extLst>
          </p:cNvPr>
          <p:cNvCxnSpPr>
            <a:stCxn id="9" idx="3"/>
            <a:endCxn id="11" idx="1"/>
          </p:cNvCxnSpPr>
          <p:nvPr/>
        </p:nvCxnSpPr>
        <p:spPr>
          <a:xfrm>
            <a:off x="3016356" y="3645326"/>
            <a:ext cx="3433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74142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87CA-8FA7-CF05-AD3F-6B6FF6244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044830"/>
            <a:ext cx="8561940" cy="1362075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Case Studies</a:t>
            </a:r>
            <a:br>
              <a:rPr lang="de-D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5964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1: </a:t>
            </a:r>
            <a:r>
              <a:rPr lang="en-US" sz="2400" b="1" dirty="0"/>
              <a:t>Demand Response Scenario</a:t>
            </a:r>
            <a:r>
              <a:rPr lang="de-DE" dirty="0"/>
              <a:t> 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7110DCA3-FC31-510C-09A8-0B196149E5B9}"/>
              </a:ext>
            </a:extLst>
          </p:cNvPr>
          <p:cNvSpPr/>
          <p:nvPr/>
        </p:nvSpPr>
        <p:spPr>
          <a:xfrm>
            <a:off x="5159896" y="1988840"/>
            <a:ext cx="6408712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Assumptions: 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Many people believe and will act on the information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Infected entities have a delayed response, acting after the time specified in the social media message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Infected entities will turn on many energy-intensive appliances (dishwasher, washing machine, …) in their households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umber of entities: 1000, time resolution: 15 minutes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Social media data is used to estimate the information propagation parameters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2CE2FE08-82E4-9D65-7C8A-815C99A49BCD}"/>
              </a:ext>
            </a:extLst>
          </p:cNvPr>
          <p:cNvSpPr/>
          <p:nvPr/>
        </p:nvSpPr>
        <p:spPr>
          <a:xfrm>
            <a:off x="4569479" y="4770786"/>
            <a:ext cx="504056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7" name="Grafik 6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23B00DB0-7FA5-8472-3F6E-5EBFA5085A4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31"/>
          <a:stretch/>
        </p:blipFill>
        <p:spPr>
          <a:xfrm>
            <a:off x="267389" y="1857577"/>
            <a:ext cx="4605998" cy="22915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D08AB990-FF26-09C9-59FB-A864E6F28C25}"/>
              </a:ext>
            </a:extLst>
          </p:cNvPr>
          <p:cNvSpPr/>
          <p:nvPr/>
        </p:nvSpPr>
        <p:spPr>
          <a:xfrm>
            <a:off x="457843" y="4302962"/>
            <a:ext cx="4018686" cy="167320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emand Response Scenario: </a:t>
            </a: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A false advertisement for reduced electricity price for a limited time </a:t>
            </a:r>
            <a:r>
              <a:rPr lang="en-US" dirty="0"/>
              <a:t>spreads through social media.</a:t>
            </a:r>
          </a:p>
          <a:p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6867379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67283E-B13C-D7A0-C0E6-63BAA8FC9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1: </a:t>
            </a:r>
            <a:r>
              <a:rPr lang="en-US" sz="2400" b="1" dirty="0"/>
              <a:t>Demand Response Scenario</a:t>
            </a:r>
            <a:r>
              <a:rPr lang="de-DE" dirty="0"/>
              <a:t> </a:t>
            </a:r>
          </a:p>
        </p:txBody>
      </p:sp>
      <p:pic>
        <p:nvPicPr>
          <p:cNvPr id="7" name="Grafik 6" descr="Ein Bild, das Text, Diagramm, Reihe, Screenshot enthält.&#10;&#10;Automatisch generierte Beschreibung">
            <a:extLst>
              <a:ext uri="{FF2B5EF4-FFF2-40B4-BE49-F238E27FC236}">
                <a16:creationId xmlns:a16="http://schemas.microsoft.com/office/drawing/2014/main" id="{AF42D3F5-D53F-F6CD-6ADA-CF9D5693B9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8" t="9231" r="8572" b="3333"/>
          <a:stretch/>
        </p:blipFill>
        <p:spPr>
          <a:xfrm>
            <a:off x="463914" y="1484784"/>
            <a:ext cx="11233248" cy="49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5905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2: </a:t>
            </a:r>
            <a:r>
              <a:rPr lang="en-US" sz="2400" b="1" dirty="0"/>
              <a:t>“Disconnect” Scenario</a:t>
            </a:r>
            <a:endParaRPr lang="de-DE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915E0953-4E25-0D41-E6C8-74F693087FBF}"/>
              </a:ext>
            </a:extLst>
          </p:cNvPr>
          <p:cNvSpPr/>
          <p:nvPr/>
        </p:nvSpPr>
        <p:spPr>
          <a:xfrm>
            <a:off x="464433" y="1988840"/>
            <a:ext cx="2808312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“Disconnect” Scenario:</a:t>
            </a: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Conspiracy theorists want to send a message by disconnecting all electrical appliances by a specified time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19B16054-6120-FD99-2D9F-843C459BEAAA}"/>
              </a:ext>
            </a:extLst>
          </p:cNvPr>
          <p:cNvSpPr/>
          <p:nvPr/>
        </p:nvSpPr>
        <p:spPr>
          <a:xfrm>
            <a:off x="3950703" y="1988840"/>
            <a:ext cx="7617905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Assumptions: 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Not many entities will act on the information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The infected entities will have a delayed response to the information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The infected entities will disconnect all devices, e.g., their power consumption is 0</a:t>
            </a:r>
          </a:p>
          <a:p>
            <a:pPr marL="46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Infected entities do not recover from the information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14AF3C7E-F4EF-1BCC-A136-236DD39BAA5B}"/>
              </a:ext>
            </a:extLst>
          </p:cNvPr>
          <p:cNvSpPr/>
          <p:nvPr/>
        </p:nvSpPr>
        <p:spPr>
          <a:xfrm>
            <a:off x="3359696" y="3714024"/>
            <a:ext cx="504056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38572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2: </a:t>
            </a:r>
            <a:r>
              <a:rPr lang="en-US" sz="2400" b="1" dirty="0"/>
              <a:t>“Disconnect” Scenario</a:t>
            </a:r>
            <a:endParaRPr lang="de-DE" dirty="0"/>
          </a:p>
        </p:txBody>
      </p:sp>
      <p:pic>
        <p:nvPicPr>
          <p:cNvPr id="3" name="scen2">
            <a:hlinkClick r:id="" action="ppaction://media"/>
            <a:extLst>
              <a:ext uri="{FF2B5EF4-FFF2-40B4-BE49-F238E27FC236}">
                <a16:creationId xmlns:a16="http://schemas.microsoft.com/office/drawing/2014/main" id="{7EA74010-13E5-06A2-FD9E-848C1184475C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4776"/>
                </p14:media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31337" y="1484784"/>
            <a:ext cx="11797311" cy="505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754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22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2: </a:t>
            </a:r>
            <a:r>
              <a:rPr lang="en-US" b="1" dirty="0"/>
              <a:t>Wildfire </a:t>
            </a:r>
            <a:r>
              <a:rPr lang="en-US" sz="2400" b="1" dirty="0"/>
              <a:t>Scenario</a:t>
            </a:r>
            <a:endParaRPr lang="de-DE" dirty="0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312BC4CE-0C9A-D874-7542-A612713AD40E}"/>
              </a:ext>
            </a:extLst>
          </p:cNvPr>
          <p:cNvSpPr/>
          <p:nvPr/>
        </p:nvSpPr>
        <p:spPr>
          <a:xfrm>
            <a:off x="457843" y="4302962"/>
            <a:ext cx="4018686" cy="167320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Wildfire </a:t>
            </a:r>
            <a:r>
              <a:rPr lang="en-US" sz="1800" b="1" dirty="0"/>
              <a:t>Scenario: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Rumors of a wildfire lead to people leaving the city in masses. But, to leave the city, they need to charge their electric vehicles first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7110DCA3-FC31-510C-09A8-0B196149E5B9}"/>
                  </a:ext>
                </a:extLst>
              </p:cNvPr>
              <p:cNvSpPr/>
              <p:nvPr/>
            </p:nvSpPr>
            <p:spPr>
              <a:xfrm>
                <a:off x="5159896" y="1988840"/>
                <a:ext cx="6408712" cy="3987324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sz="1800" b="0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sz="1800" b="1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b="1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sz="1800" b="1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r>
                  <a:rPr lang="en-US" sz="1800" b="1" dirty="0"/>
                  <a:t>Assumptions: </a:t>
                </a:r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:r>
                  <a:rPr lang="en-US" dirty="0"/>
                  <a:t>Many people believe and will act on the information</a:t>
                </a:r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:r>
                  <a:rPr lang="en-US" dirty="0"/>
                  <a:t>People will act immediately upon hearing the information</a:t>
                </a:r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:r>
                  <a:rPr lang="en-US" dirty="0"/>
                  <a:t>The entities will load their electric cars for one hour and leave the city</a:t>
                </a:r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3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%</m:t>
                    </m:r>
                  </m:oMath>
                </a14:m>
                <a:r>
                  <a:rPr lang="en-US" dirty="0"/>
                  <a:t> of all households have an electric car. </a:t>
                </a:r>
                <a:r>
                  <a:rPr lang="en-US"/>
                  <a:t>Load: 1,75kWh per 15 mins</a:t>
                </a:r>
                <a:endParaRPr lang="en-US" dirty="0"/>
              </a:p>
              <a:p>
                <a:pPr marL="465750" indent="-285750">
                  <a:spcBef>
                    <a:spcPts val="200"/>
                  </a:spcBef>
                  <a:spcAft>
                    <a:spcPts val="230"/>
                  </a:spcAft>
                  <a:buFont typeface="Arial" panose="020B0604020202020204" pitchFamily="34" charset="0"/>
                  <a:buChar char="•"/>
                </a:pPr>
                <a:r>
                  <a:rPr lang="en-US" dirty="0"/>
                  <a:t>Number of entities: 1000, time resolution: 15 minutes</a:t>
                </a:r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en-US" b="1" dirty="0"/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r>
                  <a:rPr lang="en-US" dirty="0"/>
                  <a:t>Social media data is used to estimate the information propagation parameters</a:t>
                </a:r>
              </a:p>
              <a:p>
                <a:pPr marL="180000">
                  <a:spcBef>
                    <a:spcPts val="200"/>
                  </a:spcBef>
                  <a:spcAft>
                    <a:spcPts val="230"/>
                  </a:spcAft>
                </a:pPr>
                <a:endParaRPr lang="de-DE" sz="1800" b="0" dirty="0"/>
              </a:p>
              <a:p>
                <a:pPr marL="285750" indent="-285750">
                  <a:buFont typeface="Wingdings" panose="05000000000000000000" pitchFamily="2" charset="2"/>
                  <a:buChar char="è"/>
                </a:pPr>
                <a:endParaRPr lang="de-DE" dirty="0"/>
              </a:p>
              <a:p>
                <a:pPr marL="285750" indent="-285750">
                  <a:buFont typeface="Wingdings" panose="05000000000000000000" pitchFamily="2" charset="2"/>
                  <a:buChar char="è"/>
                </a:pPr>
                <a:endParaRPr lang="de-DE" dirty="0"/>
              </a:p>
              <a:p>
                <a:pPr marL="285750" indent="-285750">
                  <a:buFont typeface="Wingdings" panose="05000000000000000000" pitchFamily="2" charset="2"/>
                  <a:buChar char="è"/>
                </a:pPr>
                <a:endParaRPr lang="de-DE" sz="1800" b="0" dirty="0"/>
              </a:p>
              <a:p>
                <a:pPr marL="285750" indent="-285750">
                  <a:buFont typeface="Wingdings" panose="05000000000000000000" pitchFamily="2" charset="2"/>
                  <a:buChar char="è"/>
                </a:pPr>
                <a:endParaRPr lang="de-DE" sz="1800" b="0" dirty="0"/>
              </a:p>
            </p:txBody>
          </p:sp>
        </mc:Choice>
        <mc:Fallback xmlns=""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7110DCA3-FC31-510C-09A8-0B196149E5B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59896" y="1988840"/>
                <a:ext cx="6408712" cy="3987324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2CE2FE08-82E4-9D65-7C8A-815C99A49BCD}"/>
              </a:ext>
            </a:extLst>
          </p:cNvPr>
          <p:cNvSpPr/>
          <p:nvPr/>
        </p:nvSpPr>
        <p:spPr>
          <a:xfrm>
            <a:off x="4562890" y="4770786"/>
            <a:ext cx="504056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6" name="Grafik 5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9712F28D-6A85-A74C-0015-4D5E949F967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8" t="99" r="488" b="19111"/>
          <a:stretch/>
        </p:blipFill>
        <p:spPr>
          <a:xfrm>
            <a:off x="255793" y="1857724"/>
            <a:ext cx="4616071" cy="227457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6110636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2: </a:t>
            </a:r>
            <a:r>
              <a:rPr lang="en-US" b="1" dirty="0"/>
              <a:t>Wildfire </a:t>
            </a:r>
            <a:r>
              <a:rPr lang="en-US" sz="2400" b="1" dirty="0"/>
              <a:t>Scenario</a:t>
            </a:r>
            <a:endParaRPr lang="de-DE" dirty="0"/>
          </a:p>
        </p:txBody>
      </p:sp>
      <p:pic>
        <p:nvPicPr>
          <p:cNvPr id="5" name="Grafik 4" descr="Ein Bild, das Text, Screenshot, Diagramm, Reihe enthält.&#10;&#10;Automatisch generierte Beschreibung">
            <a:extLst>
              <a:ext uri="{FF2B5EF4-FFF2-40B4-BE49-F238E27FC236}">
                <a16:creationId xmlns:a16="http://schemas.microsoft.com/office/drawing/2014/main" id="{B5D10C6E-29A1-FF01-72CA-A40FB6A1EAD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7" t="10049" r="8455" b="3365"/>
          <a:stretch/>
        </p:blipFill>
        <p:spPr>
          <a:xfrm>
            <a:off x="335360" y="1517566"/>
            <a:ext cx="11449272" cy="4995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0254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7813E5-8118-30EB-C377-B19CF76B10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enario 2: </a:t>
            </a:r>
            <a:r>
              <a:rPr lang="en-US" b="1" dirty="0"/>
              <a:t>Wildfire </a:t>
            </a:r>
            <a:r>
              <a:rPr lang="en-US" sz="2400" b="1" dirty="0"/>
              <a:t>Scenario: change the adoption rate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6B73E50-3142-9817-0731-2510AA00D5A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357"/>
          <a:stretch/>
        </p:blipFill>
        <p:spPr>
          <a:xfrm>
            <a:off x="1703512" y="1632118"/>
            <a:ext cx="8566813" cy="5115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3090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DEFA9E-416B-B31D-8575-6210869D71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54383BB2-F0CA-F168-6FC5-E8BE885B968C}"/>
              </a:ext>
            </a:extLst>
          </p:cNvPr>
          <p:cNvSpPr/>
          <p:nvPr/>
        </p:nvSpPr>
        <p:spPr>
          <a:xfrm>
            <a:off x="1451898" y="2275654"/>
            <a:ext cx="4140046" cy="302555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Synchronization events caused by information on social media could be critical to the power grid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563984A7-4CAF-A4AF-DEFC-CB63D3CCF863}"/>
              </a:ext>
            </a:extLst>
          </p:cNvPr>
          <p:cNvSpPr/>
          <p:nvPr/>
        </p:nvSpPr>
        <p:spPr>
          <a:xfrm>
            <a:off x="5951984" y="2275653"/>
            <a:ext cx="4140046" cy="302555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Increasing adoption of new, highly power-consuming technologies could increase the peak power demand caused by synchronization</a:t>
            </a:r>
          </a:p>
        </p:txBody>
      </p:sp>
    </p:spTree>
    <p:extLst>
      <p:ext uri="{BB962C8B-B14F-4D97-AF65-F5344CB8AC3E}">
        <p14:creationId xmlns:p14="http://schemas.microsoft.com/office/powerpoint/2010/main" val="21593544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19042D-D10F-65B9-7E07-2A8582B8C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88950"/>
            <a:ext cx="8856156" cy="8382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Panic Buying and Overconsumption became a very prominent topic during the COVID-19 Pandemic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AE5A1022-EAB9-03C1-F65A-25CCC6C1968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68" t="6414" r="4538" b="1757"/>
          <a:stretch/>
        </p:blipFill>
        <p:spPr>
          <a:xfrm>
            <a:off x="315496" y="2075697"/>
            <a:ext cx="7358963" cy="4205121"/>
          </a:xfr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EFFC95D3-DCE9-4AA3-011E-5FF272B4D781}"/>
              </a:ext>
            </a:extLst>
          </p:cNvPr>
          <p:cNvSpPr/>
          <p:nvPr/>
        </p:nvSpPr>
        <p:spPr>
          <a:xfrm>
            <a:off x="7896200" y="1673924"/>
            <a:ext cx="3888432" cy="460851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Panic Buying</a:t>
            </a:r>
            <a:r>
              <a:rPr lang="en-US" sz="1800" b="0" dirty="0"/>
              <a:t>: When consumers buy unusually large amounts of a product because of an unusual situation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uring the COVID-19 Pandemic</a:t>
            </a:r>
            <a:r>
              <a:rPr lang="en-US" sz="1800" b="0" dirty="0"/>
              <a:t>: People bought much greater number of disinfectants and soap in fear of the infectious disease. 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Panic was amplified due to </a:t>
            </a:r>
            <a:r>
              <a:rPr lang="en-US" sz="1800" b="1" dirty="0"/>
              <a:t>Information on Social Media</a:t>
            </a:r>
            <a:endParaRPr lang="de-DE" sz="1800" b="1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B35637B-BF00-FF5A-55D9-1D8C33789625}"/>
              </a:ext>
            </a:extLst>
          </p:cNvPr>
          <p:cNvSpPr/>
          <p:nvPr/>
        </p:nvSpPr>
        <p:spPr>
          <a:xfrm>
            <a:off x="256974" y="5698275"/>
            <a:ext cx="3456384" cy="21602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95057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E87CA-8FA7-CF05-AD3F-6B6FF6244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044830"/>
            <a:ext cx="8561940" cy="1362075"/>
          </a:xfrm>
        </p:spPr>
        <p:txBody>
          <a:bodyPr/>
          <a:lstStyle/>
          <a:p>
            <a:br>
              <a:rPr lang="de-DE" dirty="0"/>
            </a:br>
            <a:r>
              <a:rPr lang="de-DE" dirty="0"/>
              <a:t>Questions?</a:t>
            </a:r>
            <a:br>
              <a:rPr lang="de-D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650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19042D-D10F-65B9-7E07-2A8582B8C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88950"/>
            <a:ext cx="8856156" cy="838200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Could Social Media affect Power Demand?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B35637B-BF00-FF5A-55D9-1D8C33789625}"/>
              </a:ext>
            </a:extLst>
          </p:cNvPr>
          <p:cNvSpPr/>
          <p:nvPr/>
        </p:nvSpPr>
        <p:spPr>
          <a:xfrm>
            <a:off x="256974" y="5698275"/>
            <a:ext cx="3456384" cy="21602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8" name="Grafik 7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C8C9F853-D6E3-A263-AE8E-1B5EA3717B6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31"/>
          <a:stretch/>
        </p:blipFill>
        <p:spPr>
          <a:xfrm>
            <a:off x="666131" y="1612575"/>
            <a:ext cx="4632145" cy="23045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Grafik 10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EC01CE59-15DC-CAAE-6208-3A4B5E44975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8" t="99" r="488" b="19111"/>
          <a:stretch/>
        </p:blipFill>
        <p:spPr>
          <a:xfrm>
            <a:off x="5879976" y="1612575"/>
            <a:ext cx="4632144" cy="228249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Grafik 12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344A2065-6BDB-6F36-0CC6-B4087A5F523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040"/>
          <a:stretch/>
        </p:blipFill>
        <p:spPr>
          <a:xfrm>
            <a:off x="5911552" y="4240179"/>
            <a:ext cx="4248472" cy="23245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5" name="Grafik 14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3E1999E9-352E-1400-FE79-6609B6649DB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31"/>
          <a:stretch/>
        </p:blipFill>
        <p:spPr>
          <a:xfrm>
            <a:off x="657133" y="4144929"/>
            <a:ext cx="4632144" cy="23045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1220604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F09439-EB36-1305-C4E3-DE20F45DDE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 Scenario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in </a:t>
            </a:r>
            <a:r>
              <a:rPr lang="de-DE" dirty="0" err="1"/>
              <a:t>Electricity</a:t>
            </a:r>
            <a:r>
              <a:rPr lang="de-DE" dirty="0"/>
              <a:t> </a:t>
            </a:r>
            <a:r>
              <a:rPr lang="de-DE" dirty="0" err="1"/>
              <a:t>Consumption</a:t>
            </a:r>
            <a:r>
              <a:rPr lang="de-DE" dirty="0"/>
              <a:t> </a:t>
            </a:r>
            <a:r>
              <a:rPr lang="de-DE" dirty="0" err="1"/>
              <a:t>lea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BB784F85-7EEE-FD9E-EF0B-6BE96FE99AE0}"/>
              </a:ext>
            </a:extLst>
          </p:cNvPr>
          <p:cNvSpPr/>
          <p:nvPr/>
        </p:nvSpPr>
        <p:spPr>
          <a:xfrm>
            <a:off x="407368" y="1673924"/>
            <a:ext cx="3600400" cy="398732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Demand Response Scenario: </a:t>
            </a:r>
            <a:endParaRPr lang="en-US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A false advertisement for reduced electricity price for a limited time </a:t>
            </a:r>
            <a:r>
              <a:rPr lang="en-US" dirty="0"/>
              <a:t>spreads through social media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86C34D08-68E8-DA09-5D37-487A27421388}"/>
              </a:ext>
            </a:extLst>
          </p:cNvPr>
          <p:cNvSpPr/>
          <p:nvPr/>
        </p:nvSpPr>
        <p:spPr>
          <a:xfrm>
            <a:off x="4127477" y="1687366"/>
            <a:ext cx="3600400" cy="397388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1" dirty="0"/>
              <a:t>“Disconnect” Scenario: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Conspiracy theorists want to send a message by switching off all electrical appliances by a specified time.</a:t>
            </a: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F0E96177-E08D-49E2-7D19-8146A4915A2F}"/>
              </a:ext>
            </a:extLst>
          </p:cNvPr>
          <p:cNvSpPr/>
          <p:nvPr/>
        </p:nvSpPr>
        <p:spPr>
          <a:xfrm>
            <a:off x="407368" y="5805264"/>
            <a:ext cx="11040618" cy="56378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/>
              <a:t>But: other scenarios could be imagined ….</a:t>
            </a:r>
            <a:endParaRPr lang="de-DE" sz="2400" b="1" dirty="0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3BE02112-E17B-71A5-F9C3-33532DEA8646}"/>
              </a:ext>
            </a:extLst>
          </p:cNvPr>
          <p:cNvSpPr/>
          <p:nvPr/>
        </p:nvSpPr>
        <p:spPr>
          <a:xfrm>
            <a:off x="7847586" y="1677738"/>
            <a:ext cx="3600400" cy="397388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Wildfire </a:t>
            </a:r>
            <a:r>
              <a:rPr lang="en-US" sz="1800" b="1" dirty="0"/>
              <a:t>Scenario: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b="1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en-US" sz="1800" b="0" dirty="0"/>
              <a:t>Rumors of a wildfire lead to people leaving the city in masses. But, to leave the city, they need to charge their electric vehicles first.</a:t>
            </a:r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sz="1800" b="0" dirty="0"/>
          </a:p>
          <a:p>
            <a:pPr marL="180000">
              <a:spcBef>
                <a:spcPts val="200"/>
              </a:spcBef>
              <a:spcAft>
                <a:spcPts val="230"/>
              </a:spcAft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33415729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2BDD1A-935E-37AF-0C22-F1B163168C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88950"/>
            <a:ext cx="9578073" cy="838200"/>
          </a:xfrm>
        </p:spPr>
        <p:txBody>
          <a:bodyPr/>
          <a:lstStyle/>
          <a:p>
            <a:r>
              <a:rPr lang="en-US" dirty="0"/>
              <a:t>Idea: Analyze the Effects of Information Flow on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010AAE69-6886-6A69-4679-A6FE5BA71844}"/>
              </a:ext>
            </a:extLst>
          </p:cNvPr>
          <p:cNvSpPr/>
          <p:nvPr/>
        </p:nvSpPr>
        <p:spPr>
          <a:xfrm>
            <a:off x="305587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Social Media Graph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A79EB93-8530-8A99-6D9F-902E085E084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2871" r="32870"/>
          <a:stretch/>
        </p:blipFill>
        <p:spPr>
          <a:xfrm>
            <a:off x="461395" y="2492896"/>
            <a:ext cx="3352285" cy="3399631"/>
          </a:xfrm>
          <a:prstGeom prst="rect">
            <a:avLst/>
          </a:prstGeom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992AD926-08B6-8807-B84E-DF16E1F5AA44}"/>
              </a:ext>
            </a:extLst>
          </p:cNvPr>
          <p:cNvSpPr/>
          <p:nvPr/>
        </p:nvSpPr>
        <p:spPr>
          <a:xfrm>
            <a:off x="4299895" y="1545109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Information Diffusion Model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02E600BE-E8BF-A2D7-0E0C-3A3A132ECA51}"/>
              </a:ext>
            </a:extLst>
          </p:cNvPr>
          <p:cNvSpPr/>
          <p:nvPr/>
        </p:nvSpPr>
        <p:spPr>
          <a:xfrm>
            <a:off x="8311076" y="1544514"/>
            <a:ext cx="3558165" cy="48245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Power Demand Simulation Rules</a:t>
            </a:r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4171022-80BD-3A61-A6D2-1C4C5F13649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7440"/>
          <a:stretch/>
        </p:blipFill>
        <p:spPr>
          <a:xfrm>
            <a:off x="8400256" y="2564905"/>
            <a:ext cx="3354910" cy="2721402"/>
          </a:xfrm>
          <a:prstGeom prst="rect">
            <a:avLst/>
          </a:prstGeom>
        </p:spPr>
      </p:pic>
      <p:pic>
        <p:nvPicPr>
          <p:cNvPr id="7" name="Grafik 6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5378B4CC-E8A3-CC00-A753-51DEFF2BE05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4511824" y="2191139"/>
            <a:ext cx="3360062" cy="381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6097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ocial Media Network Graph is modelled via Random Graph Algorithm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FAA4862C-BC49-EBC0-36B1-DC7DD94D1D91}"/>
              </a:ext>
            </a:extLst>
          </p:cNvPr>
          <p:cNvSpPr/>
          <p:nvPr/>
        </p:nvSpPr>
        <p:spPr>
          <a:xfrm>
            <a:off x="478368" y="1546538"/>
            <a:ext cx="8856156" cy="209848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Graph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social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networks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 </a:t>
            </a:r>
            <a:r>
              <a:rPr lang="de-DE" dirty="0" err="1"/>
              <a:t>Barabási</a:t>
            </a:r>
            <a:r>
              <a:rPr lang="de-DE" dirty="0"/>
              <a:t>–Albert </a:t>
            </a:r>
            <a:r>
              <a:rPr lang="de-DE" dirty="0" err="1"/>
              <a:t>model</a:t>
            </a:r>
            <a:endParaRPr lang="de-DE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/>
              <a:t>Small </a:t>
            </a:r>
            <a:r>
              <a:rPr lang="de-DE" sz="1800" b="0" dirty="0" err="1"/>
              <a:t>world</a:t>
            </a:r>
            <a:endParaRPr lang="de-DE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Scale-free</a:t>
            </a:r>
            <a:r>
              <a:rPr lang="de-DE" dirty="0"/>
              <a:t> </a:t>
            </a:r>
            <a:r>
              <a:rPr lang="de-DE" dirty="0" err="1"/>
              <a:t>networks</a:t>
            </a:r>
            <a:endParaRPr lang="de-DE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Highly</a:t>
            </a:r>
            <a:r>
              <a:rPr lang="de-DE" sz="1800" b="0" dirty="0"/>
              <a:t> </a:t>
            </a:r>
            <a:r>
              <a:rPr lang="de-DE" sz="1800" b="0" dirty="0" err="1"/>
              <a:t>clustered</a:t>
            </a:r>
            <a:endParaRPr lang="de-DE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D1AE354-A862-0455-7412-528C9280579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8D0A52D9-2255-0C97-2367-73B8C4249C9D}"/>
              </a:ext>
            </a:extLst>
          </p:cNvPr>
          <p:cNvSpPr/>
          <p:nvPr/>
        </p:nvSpPr>
        <p:spPr>
          <a:xfrm>
            <a:off x="478368" y="3789039"/>
            <a:ext cx="8856156" cy="243898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dirty="0"/>
              <a:t>The SIR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propagation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:</a:t>
            </a:r>
            <a:endParaRPr lang="de-DE" sz="1800" b="0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sz="1800" b="0" dirty="0" err="1"/>
              <a:t>Three</a:t>
            </a:r>
            <a:r>
              <a:rPr lang="de-DE" sz="1800" b="0" dirty="0"/>
              <a:t> </a:t>
            </a:r>
            <a:r>
              <a:rPr lang="de-DE" sz="1800" b="0" dirty="0" err="1"/>
              <a:t>states</a:t>
            </a:r>
            <a:r>
              <a:rPr lang="de-DE" sz="1800" b="0" dirty="0"/>
              <a:t>: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usceptible</a:t>
            </a: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(S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b="0" dirty="0" err="1">
                <a:solidFill>
                  <a:srgbClr val="FF0000"/>
                </a:solidFill>
              </a:rPr>
              <a:t>Infected</a:t>
            </a:r>
            <a:r>
              <a:rPr lang="de-DE" b="0" dirty="0">
                <a:solidFill>
                  <a:srgbClr val="FF0000"/>
                </a:solidFill>
              </a:rPr>
              <a:t> (I)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chemeClr val="tx1"/>
                </a:solidFill>
              </a:rPr>
              <a:t>Recovered</a:t>
            </a:r>
            <a:r>
              <a:rPr lang="de-DE" dirty="0">
                <a:solidFill>
                  <a:schemeClr val="tx1"/>
                </a:solidFill>
              </a:rPr>
              <a:t> (R)</a:t>
            </a:r>
            <a:endParaRPr lang="en-US" b="0" dirty="0">
              <a:solidFill>
                <a:schemeClr val="tx1"/>
              </a:solidFill>
            </a:endParaRPr>
          </a:p>
          <a:p>
            <a:endParaRPr lang="de-DE" sz="1800" b="0" dirty="0"/>
          </a:p>
        </p:txBody>
      </p:sp>
      <p:pic>
        <p:nvPicPr>
          <p:cNvPr id="7" name="Grafik 6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20A3ADAD-2BAD-0CE1-4D77-C44706132BB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10178277" y="3229273"/>
            <a:ext cx="1208321" cy="1373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654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9CB7D189-4D61-F942-9D1A-A1B61FB9A304}"/>
              </a:ext>
            </a:extLst>
          </p:cNvPr>
          <p:cNvSpPr/>
          <p:nvPr/>
        </p:nvSpPr>
        <p:spPr>
          <a:xfrm>
            <a:off x="459229" y="1526055"/>
            <a:ext cx="8779840" cy="324324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/>
              <a:t>State Chart: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ulas of the SIR model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D1AE354-A862-0455-7412-528C9280579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pic>
        <p:nvPicPr>
          <p:cNvPr id="7" name="Grafik 6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20A3ADAD-2BAD-0CE1-4D77-C44706132BB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10178277" y="3229273"/>
            <a:ext cx="1208321" cy="1373169"/>
          </a:xfrm>
          <a:prstGeom prst="rect">
            <a:avLst/>
          </a:prstGeom>
        </p:spPr>
      </p:pic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6B8BFAB4-42EB-F363-4E3D-940777AC794C}"/>
              </a:ext>
            </a:extLst>
          </p:cNvPr>
          <p:cNvSpPr/>
          <p:nvPr/>
        </p:nvSpPr>
        <p:spPr>
          <a:xfrm>
            <a:off x="1989881" y="3474773"/>
            <a:ext cx="1785256" cy="606489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Recovered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79AA309-136D-2EBB-E665-565910C6EA56}"/>
              </a:ext>
            </a:extLst>
          </p:cNvPr>
          <p:cNvSpPr/>
          <p:nvPr/>
        </p:nvSpPr>
        <p:spPr>
          <a:xfrm>
            <a:off x="5839106" y="3474772"/>
            <a:ext cx="1785256" cy="606489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Infected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6CEE0C86-3CFA-8A29-E219-8E9966E8E966}"/>
              </a:ext>
            </a:extLst>
          </p:cNvPr>
          <p:cNvSpPr/>
          <p:nvPr/>
        </p:nvSpPr>
        <p:spPr>
          <a:xfrm>
            <a:off x="4036220" y="2344090"/>
            <a:ext cx="1785256" cy="606489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usceptible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8C6DA360-A527-CFA3-B285-8C5F244EF2C5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2882509" y="2950579"/>
            <a:ext cx="1337345" cy="5241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DD711E57-E807-6C4D-01B7-F80023CBF8EC}"/>
                  </a:ext>
                </a:extLst>
              </p:cNvPr>
              <p:cNvSpPr txBox="1"/>
              <p:nvPr/>
            </p:nvSpPr>
            <p:spPr>
              <a:xfrm>
                <a:off x="2596982" y="3020448"/>
                <a:ext cx="813492" cy="23294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𝑛𝑒𝑖𝑔h𝑏𝑜𝑟𝑠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DD711E57-E807-6C4D-01B7-F80023CBF8E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96982" y="3020448"/>
                <a:ext cx="813492" cy="232949"/>
              </a:xfrm>
              <a:prstGeom prst="rect">
                <a:avLst/>
              </a:prstGeom>
              <a:blipFill>
                <a:blip r:embed="rId8"/>
                <a:stretch>
                  <a:fillRect l="-4511" r="-3008" b="-230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AD27C170-4914-8708-A70D-F2AEA0ABCC3E}"/>
              </a:ext>
            </a:extLst>
          </p:cNvPr>
          <p:cNvCxnSpPr>
            <a:cxnSpLocks/>
            <a:endCxn id="8" idx="0"/>
          </p:cNvCxnSpPr>
          <p:nvPr/>
        </p:nvCxnSpPr>
        <p:spPr>
          <a:xfrm>
            <a:off x="5525771" y="2953286"/>
            <a:ext cx="1205963" cy="5214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C3448360-CF42-EE7C-091E-6371DBC93DC1}"/>
              </a:ext>
            </a:extLst>
          </p:cNvPr>
          <p:cNvCxnSpPr>
            <a:cxnSpLocks/>
            <a:stCxn id="8" idx="1"/>
          </p:cNvCxnSpPr>
          <p:nvPr/>
        </p:nvCxnSpPr>
        <p:spPr>
          <a:xfrm flipH="1">
            <a:off x="3775137" y="3778017"/>
            <a:ext cx="206396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C1A5AAA6-4103-4D63-E5DA-9617B1295E99}"/>
                  </a:ext>
                </a:extLst>
              </p:cNvPr>
              <p:cNvSpPr txBox="1"/>
              <p:nvPr/>
            </p:nvSpPr>
            <p:spPr>
              <a:xfrm>
                <a:off x="4655077" y="3818685"/>
                <a:ext cx="565989" cy="23269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C1A5AAA6-4103-4D63-E5DA-9617B1295E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55077" y="3818685"/>
                <a:ext cx="565989" cy="232692"/>
              </a:xfrm>
              <a:prstGeom prst="rect">
                <a:avLst/>
              </a:prstGeom>
              <a:blipFill>
                <a:blip r:embed="rId9"/>
                <a:stretch>
                  <a:fillRect l="-7609" r="-3261" b="-230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" name="Verbinder: gewinkelt 20">
            <a:extLst>
              <a:ext uri="{FF2B5EF4-FFF2-40B4-BE49-F238E27FC236}">
                <a16:creationId xmlns:a16="http://schemas.microsoft.com/office/drawing/2014/main" id="{5A63D097-0CD5-3737-68E7-97F7383D2D80}"/>
              </a:ext>
            </a:extLst>
          </p:cNvPr>
          <p:cNvCxnSpPr>
            <a:stCxn id="6" idx="2"/>
            <a:endCxn id="6" idx="1"/>
          </p:cNvCxnSpPr>
          <p:nvPr/>
        </p:nvCxnSpPr>
        <p:spPr>
          <a:xfrm rot="5400000" flipH="1">
            <a:off x="2284573" y="3483326"/>
            <a:ext cx="303244" cy="892628"/>
          </a:xfrm>
          <a:prstGeom prst="bentConnector4">
            <a:avLst>
              <a:gd name="adj1" fmla="val -75385"/>
              <a:gd name="adj2" fmla="val 12561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CB960D08-A23D-0E09-B7FD-9E85576127EE}"/>
                  </a:ext>
                </a:extLst>
              </p:cNvPr>
              <p:cNvSpPr txBox="1"/>
              <p:nvPr/>
            </p:nvSpPr>
            <p:spPr>
              <a:xfrm>
                <a:off x="6194781" y="2953286"/>
                <a:ext cx="780406" cy="23294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𝑛𝑒𝑖𝑔h𝑏𝑜𝑟𝑠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CB960D08-A23D-0E09-B7FD-9E85576127E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94781" y="2953286"/>
                <a:ext cx="780406" cy="232949"/>
              </a:xfrm>
              <a:prstGeom prst="rect">
                <a:avLst/>
              </a:prstGeom>
              <a:blipFill>
                <a:blip r:embed="rId10"/>
                <a:stretch>
                  <a:fillRect l="-7031" r="-2344" b="-230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CFC1D5D3-FE6A-01AA-76A1-A168B4134ED1}"/>
                  </a:ext>
                </a:extLst>
              </p:cNvPr>
              <p:cNvSpPr txBox="1"/>
              <p:nvPr/>
            </p:nvSpPr>
            <p:spPr>
              <a:xfrm>
                <a:off x="1793211" y="4384507"/>
                <a:ext cx="139461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CFC1D5D3-FE6A-01AA-76A1-A168B4134E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3211" y="4384507"/>
                <a:ext cx="139461" cy="215444"/>
              </a:xfrm>
              <a:prstGeom prst="rect">
                <a:avLst/>
              </a:prstGeom>
              <a:blipFill>
                <a:blip r:embed="rId11"/>
                <a:stretch>
                  <a:fillRect l="-30435" r="-26087" b="-55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" name="Verbinder: gewinkelt 23">
            <a:extLst>
              <a:ext uri="{FF2B5EF4-FFF2-40B4-BE49-F238E27FC236}">
                <a16:creationId xmlns:a16="http://schemas.microsoft.com/office/drawing/2014/main" id="{39475066-16B1-97A5-2CFF-3D49F056AB48}"/>
              </a:ext>
            </a:extLst>
          </p:cNvPr>
          <p:cNvCxnSpPr>
            <a:stCxn id="9" idx="1"/>
            <a:endCxn id="9" idx="0"/>
          </p:cNvCxnSpPr>
          <p:nvPr/>
        </p:nvCxnSpPr>
        <p:spPr>
          <a:xfrm rot="10800000" flipH="1">
            <a:off x="4036220" y="2344091"/>
            <a:ext cx="892628" cy="303245"/>
          </a:xfrm>
          <a:prstGeom prst="bentConnector4">
            <a:avLst>
              <a:gd name="adj1" fmla="val -25610"/>
              <a:gd name="adj2" fmla="val 175385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Verbinder: gewinkelt 24">
            <a:extLst>
              <a:ext uri="{FF2B5EF4-FFF2-40B4-BE49-F238E27FC236}">
                <a16:creationId xmlns:a16="http://schemas.microsoft.com/office/drawing/2014/main" id="{9DCC9BB9-110C-87A4-9428-51031A5941CF}"/>
              </a:ext>
            </a:extLst>
          </p:cNvPr>
          <p:cNvCxnSpPr>
            <a:stCxn id="8" idx="3"/>
            <a:endCxn id="8" idx="2"/>
          </p:cNvCxnSpPr>
          <p:nvPr/>
        </p:nvCxnSpPr>
        <p:spPr>
          <a:xfrm flipH="1">
            <a:off x="6731734" y="3778017"/>
            <a:ext cx="892628" cy="303244"/>
          </a:xfrm>
          <a:prstGeom prst="bentConnector4">
            <a:avLst>
              <a:gd name="adj1" fmla="val -25610"/>
              <a:gd name="adj2" fmla="val 175385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B9DB97AE-69E5-E8C2-F576-72D02A6299DB}"/>
                  </a:ext>
                </a:extLst>
              </p:cNvPr>
              <p:cNvSpPr txBox="1"/>
              <p:nvPr/>
            </p:nvSpPr>
            <p:spPr>
              <a:xfrm>
                <a:off x="3443726" y="1751907"/>
                <a:ext cx="2082045" cy="23294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𝑛𝑒𝑖𝑔h𝑏𝑜𝑟𝑠</m:t>
                          </m:r>
                        </m:sub>
                      </m:sSub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𝑛𝑒𝑖𝑔h𝑏𝑜𝑟𝑠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B9DB97AE-69E5-E8C2-F576-72D02A6299D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43726" y="1751907"/>
                <a:ext cx="2082045" cy="232949"/>
              </a:xfrm>
              <a:prstGeom prst="rect">
                <a:avLst/>
              </a:prstGeom>
              <a:blipFill>
                <a:blip r:embed="rId12"/>
                <a:stretch>
                  <a:fillRect l="-1466" r="-587" b="-2307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247341B-839A-22F3-1983-3AE426FD528C}"/>
                  </a:ext>
                </a:extLst>
              </p:cNvPr>
              <p:cNvSpPr txBox="1"/>
              <p:nvPr/>
            </p:nvSpPr>
            <p:spPr>
              <a:xfrm>
                <a:off x="6805964" y="4407833"/>
                <a:ext cx="879792" cy="23269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400" b="0" i="1" smtClean="0">
                          <a:latin typeface="Cambria Math" panose="02040503050406030204" pitchFamily="18" charset="0"/>
                        </a:rPr>
                        <m:t>1−</m:t>
                      </m:r>
                      <m:sSub>
                        <m:sSubPr>
                          <m:ctrlPr>
                            <a:rPr lang="de-DE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400" b="0" i="1" smtClean="0">
                              <a:latin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E247341B-839A-22F3-1983-3AE426FD52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5964" y="4407833"/>
                <a:ext cx="879792" cy="232692"/>
              </a:xfrm>
              <a:prstGeom prst="rect">
                <a:avLst/>
              </a:prstGeom>
              <a:blipFill>
                <a:blip r:embed="rId13"/>
                <a:stretch>
                  <a:fillRect l="-4138" r="-2069" b="-2631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Rechteck: abgerundete Ecken 33">
            <a:extLst>
              <a:ext uri="{FF2B5EF4-FFF2-40B4-BE49-F238E27FC236}">
                <a16:creationId xmlns:a16="http://schemas.microsoft.com/office/drawing/2014/main" id="{C0275421-97A8-F4ED-0C4F-90681A10BFED}"/>
              </a:ext>
            </a:extLst>
          </p:cNvPr>
          <p:cNvSpPr/>
          <p:nvPr/>
        </p:nvSpPr>
        <p:spPr>
          <a:xfrm>
            <a:off x="459229" y="4863846"/>
            <a:ext cx="8779840" cy="149270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6906AF7F-1A2B-5CF9-34CD-7EFDADA681BB}"/>
                  </a:ext>
                </a:extLst>
              </p:cNvPr>
              <p:cNvSpPr txBox="1"/>
              <p:nvPr/>
            </p:nvSpPr>
            <p:spPr>
              <a:xfrm>
                <a:off x="545416" y="5161510"/>
                <a:ext cx="4529450" cy="9450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d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𝑆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sup>
                      </m:sSubSup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𝑆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)+(1−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a:rPr lang="de-DE" sz="1600" i="1">
                          <a:latin typeface="Cambria Math" panose="02040503050406030204" pitchFamily="18" charset="0"/>
                        </a:rPr>
                        <m:t>)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sup>
                      </m:sSubSup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sup>
                      </m:sSubSup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𝑆</m:t>
                          </m:r>
                        </m:sup>
                      </m:sSubSup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m:rPr>
                          <m:nor/>
                        </m:rPr>
                        <a:rPr lang="de-DE" sz="1600" dirty="0"/>
                        <m:t> </m:t>
                      </m:r>
                      <m:sSup>
                        <m:s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  <m: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𝐼</m:t>
                          </m:r>
                        </m:sup>
                      </m:sSup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sup>
                      </m:sSubSup>
                      <m:r>
                        <a:rPr lang="de-DE" sz="1600" i="1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de-DE" sz="16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6906AF7F-1A2B-5CF9-34CD-7EFDADA681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5416" y="5161510"/>
                <a:ext cx="4529450" cy="945067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CC9BE522-09E7-9FA3-EFCF-8A9EC102F0EA}"/>
                  </a:ext>
                </a:extLst>
              </p:cNvPr>
              <p:cNvSpPr txBox="1"/>
              <p:nvPr/>
            </p:nvSpPr>
            <p:spPr>
              <a:xfrm>
                <a:off x="4835349" y="4989918"/>
                <a:ext cx="4529450" cy="1248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(1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p>
                          </m:sSubSup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(1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Sup>
                            <m:sSubSup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(1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𝐼</m:t>
                              </m:r>
                            </m:sup>
                          </m:sSubSup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Sup>
                            <m:sSubSupPr>
                              <m:ctrlPr>
                                <a:rPr lang="de-DE" sz="16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sz="16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sup>
                          </m:sSubSup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(1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CC9BE522-09E7-9FA3-EFCF-8A9EC102F0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35349" y="4989918"/>
                <a:ext cx="4529450" cy="1248547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841573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B5B699D-3782-CF2B-08D4-A50842C085E0}"/>
              </a:ext>
            </a:extLst>
          </p:cNvPr>
          <p:cNvSpPr/>
          <p:nvPr/>
        </p:nvSpPr>
        <p:spPr>
          <a:xfrm>
            <a:off x="9630436" y="3163493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EBCB117B-982F-E7E2-E558-EA386DD78E33}"/>
              </a:ext>
            </a:extLst>
          </p:cNvPr>
          <p:cNvSpPr/>
          <p:nvPr/>
        </p:nvSpPr>
        <p:spPr>
          <a:xfrm>
            <a:off x="9657481" y="4832918"/>
            <a:ext cx="2088232" cy="139510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EA4B4C9-659F-B062-0F31-F8A5EA5E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 Rules to analyze the Effects on the Power Grid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BD35C341-86A0-4B4B-FADC-5EF35296651E}"/>
              </a:ext>
            </a:extLst>
          </p:cNvPr>
          <p:cNvSpPr/>
          <p:nvPr/>
        </p:nvSpPr>
        <p:spPr>
          <a:xfrm>
            <a:off x="9639019" y="1526055"/>
            <a:ext cx="2088232" cy="13951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D88AB39-8127-EF9A-4374-B17E792A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2871" r="32870"/>
          <a:stretch/>
        </p:blipFill>
        <p:spPr>
          <a:xfrm>
            <a:off x="10083736" y="1546537"/>
            <a:ext cx="1355483" cy="137462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0F25529-0DCF-0E5C-80E0-91F2EC0F7A8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1048" r="7440" b="6428"/>
          <a:stretch/>
        </p:blipFill>
        <p:spPr>
          <a:xfrm>
            <a:off x="9832361" y="4918595"/>
            <a:ext cx="1814223" cy="1214463"/>
          </a:xfrm>
          <a:prstGeom prst="rect">
            <a:avLst/>
          </a:prstGeom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EAA200E-3800-ED1C-EC0E-ECA852A2B6E4}"/>
              </a:ext>
            </a:extLst>
          </p:cNvPr>
          <p:cNvSpPr/>
          <p:nvPr/>
        </p:nvSpPr>
        <p:spPr>
          <a:xfrm>
            <a:off x="10638422" y="2981156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F2BCEA7B-2E0E-C91C-E1E6-6F8AB9358195}"/>
              </a:ext>
            </a:extLst>
          </p:cNvPr>
          <p:cNvSpPr/>
          <p:nvPr/>
        </p:nvSpPr>
        <p:spPr>
          <a:xfrm>
            <a:off x="10595457" y="4630807"/>
            <a:ext cx="144016" cy="1384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A19E4895-7403-330F-28C3-460E7CE9D992}"/>
              </a:ext>
            </a:extLst>
          </p:cNvPr>
          <p:cNvSpPr/>
          <p:nvPr/>
        </p:nvSpPr>
        <p:spPr>
          <a:xfrm>
            <a:off x="499161" y="3050404"/>
            <a:ext cx="8856156" cy="175071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de-DE" b="1" dirty="0"/>
              <a:t>Simulation </a:t>
            </a:r>
            <a:r>
              <a:rPr lang="de-DE" b="1" dirty="0" err="1"/>
              <a:t>Steps</a:t>
            </a:r>
            <a:endParaRPr lang="de-DE" sz="1800" b="1" dirty="0"/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Start with one source of information</a:t>
            </a:r>
          </a:p>
          <a:p>
            <a:pPr marL="522900" indent="-342900">
              <a:spcBef>
                <a:spcPts val="200"/>
              </a:spcBef>
              <a:spcAft>
                <a:spcPts val="230"/>
              </a:spcAft>
              <a:buFont typeface="+mj-lt"/>
              <a:buAutoNum type="arabicPeriod"/>
            </a:pPr>
            <a:r>
              <a:rPr lang="en-US" sz="1800" b="0" dirty="0"/>
              <a:t>For each iteration step</a:t>
            </a:r>
          </a:p>
          <a:p>
            <a:pPr marL="1037250" lvl="1" indent="-400050">
              <a:spcBef>
                <a:spcPts val="200"/>
              </a:spcBef>
              <a:spcAft>
                <a:spcPts val="230"/>
              </a:spcAft>
              <a:buFont typeface="+mj-lt"/>
              <a:buAutoNum type="romanLcPeriod"/>
            </a:pPr>
            <a:r>
              <a:rPr lang="en-US" b="0" dirty="0"/>
              <a:t>Calculate the power used in the network</a:t>
            </a:r>
          </a:p>
          <a:p>
            <a:pPr marL="980100" lvl="1" indent="-342900">
              <a:spcBef>
                <a:spcPts val="200"/>
              </a:spcBef>
              <a:spcAft>
                <a:spcPts val="230"/>
              </a:spcAft>
              <a:buFont typeface="+mj-lt"/>
              <a:buAutoNum type="romanLcPeriod"/>
            </a:pPr>
            <a:r>
              <a:rPr lang="en-US" dirty="0"/>
              <a:t>Propagate the information in the graph</a:t>
            </a:r>
            <a:endParaRPr lang="de-DE" sz="1800" b="0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8B8E31EA-E9BE-BD70-9CF6-DFDD27944286}"/>
              </a:ext>
            </a:extLst>
          </p:cNvPr>
          <p:cNvSpPr/>
          <p:nvPr/>
        </p:nvSpPr>
        <p:spPr>
          <a:xfrm>
            <a:off x="495443" y="1551273"/>
            <a:ext cx="8856156" cy="142988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Assumptions 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Each node in the social media graph represents one (physical) household</a:t>
            </a:r>
          </a:p>
          <a:p>
            <a:pPr marL="285750" indent="-285750">
              <a:spcBef>
                <a:spcPts val="200"/>
              </a:spcBef>
              <a:spcAft>
                <a:spcPts val="230"/>
              </a:spcAft>
              <a:buFont typeface="Arial" panose="020B0604020202020204" pitchFamily="34" charset="0"/>
              <a:buChar char="•"/>
            </a:pPr>
            <a:r>
              <a:rPr lang="en-US" dirty="0"/>
              <a:t>The effect of the information may have a delayed response on the electrical grid</a:t>
            </a:r>
            <a:endParaRPr lang="en-US" sz="1800" b="0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C4754F9-5F43-A7D2-DF12-7D4F378F7DB0}"/>
              </a:ext>
            </a:extLst>
          </p:cNvPr>
          <p:cNvSpPr/>
          <p:nvPr/>
        </p:nvSpPr>
        <p:spPr>
          <a:xfrm>
            <a:off x="499161" y="4870370"/>
            <a:ext cx="8856156" cy="135765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b="1" dirty="0"/>
              <a:t>Power Calculation</a:t>
            </a:r>
          </a:p>
          <a:p>
            <a:pPr>
              <a:spcBef>
                <a:spcPts val="200"/>
              </a:spcBef>
              <a:spcAft>
                <a:spcPts val="230"/>
              </a:spcAft>
            </a:pPr>
            <a:r>
              <a:rPr lang="en-US" dirty="0"/>
              <a:t>Each household may have electrical appliances and may activate them based on if they possess the specific appliances</a:t>
            </a:r>
          </a:p>
        </p:txBody>
      </p:sp>
      <p:pic>
        <p:nvPicPr>
          <p:cNvPr id="10" name="Grafik 9" descr="Ein Bild, das Dunkelheit enthält.&#10;&#10;Automatisch generierte Beschreibung">
            <a:extLst>
              <a:ext uri="{FF2B5EF4-FFF2-40B4-BE49-F238E27FC236}">
                <a16:creationId xmlns:a16="http://schemas.microsoft.com/office/drawing/2014/main" id="{3F4A91C1-6FA3-F748-0353-9DC0E15F79F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7" r="32036"/>
          <a:stretch/>
        </p:blipFill>
        <p:spPr>
          <a:xfrm>
            <a:off x="10178277" y="3229273"/>
            <a:ext cx="1208321" cy="1373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9064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A5FEE8-82A8-9B1B-2428-945AF1794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cial Media Data can be used to estimate Simulation Parameters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1F0DEDF6-35BE-DDEE-FC52-852DA32AB035}"/>
              </a:ext>
            </a:extLst>
          </p:cNvPr>
          <p:cNvSpPr/>
          <p:nvPr/>
        </p:nvSpPr>
        <p:spPr>
          <a:xfrm>
            <a:off x="3359696" y="1735819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/>
              <a:t>Smoothen Data Plo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3463ABD9-3567-2F10-E4DA-4E608D1EF8D3}"/>
                  </a:ext>
                </a:extLst>
              </p:cNvPr>
              <p:cNvSpPr/>
              <p:nvPr/>
            </p:nvSpPr>
            <p:spPr>
              <a:xfrm>
                <a:off x="5935284" y="1735819"/>
                <a:ext cx="2232248" cy="963726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dirty="0"/>
                  <a:t>Minimize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𝑝𝑜𝑠𝑡𝑠</m:t>
                              </m:r>
                            </m:sub>
                          </m:sSub>
                          <m:d>
                            <m:d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  <m:sup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5" name="Rechteck: abgerundete Ecken 4">
                <a:extLst>
                  <a:ext uri="{FF2B5EF4-FFF2-40B4-BE49-F238E27FC236}">
                    <a16:creationId xmlns:a16="http://schemas.microsoft.com/office/drawing/2014/main" id="{3463ABD9-3567-2F10-E4DA-4E608D1EF8D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35284" y="1735819"/>
                <a:ext cx="2232248" cy="963726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4CAA224F-DD27-4612-E247-62EE1C01C286}"/>
              </a:ext>
            </a:extLst>
          </p:cNvPr>
          <p:cNvSpPr/>
          <p:nvPr/>
        </p:nvSpPr>
        <p:spPr>
          <a:xfrm>
            <a:off x="8510872" y="1735819"/>
            <a:ext cx="2825012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Solve Differential Equations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9886E23C-55B5-BB32-8538-ED5E2249FCE8}"/>
              </a:ext>
            </a:extLst>
          </p:cNvPr>
          <p:cNvCxnSpPr>
            <a:stCxn id="4" idx="3"/>
            <a:endCxn id="5" idx="1"/>
          </p:cNvCxnSpPr>
          <p:nvPr/>
        </p:nvCxnSpPr>
        <p:spPr>
          <a:xfrm>
            <a:off x="5591944" y="2217682"/>
            <a:ext cx="3433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AB084F8-F251-B313-2574-B3B53E8150AB}"/>
              </a:ext>
            </a:extLst>
          </p:cNvPr>
          <p:cNvSpPr/>
          <p:nvPr/>
        </p:nvSpPr>
        <p:spPr>
          <a:xfrm>
            <a:off x="784108" y="1735819"/>
            <a:ext cx="2232248" cy="96372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/>
              <a:t>Count Social Media Posts over a Timespan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050C80C1-87B2-3069-2247-5CDF659F10DA}"/>
              </a:ext>
            </a:extLst>
          </p:cNvPr>
          <p:cNvCxnSpPr>
            <a:stCxn id="9" idx="3"/>
            <a:endCxn id="4" idx="1"/>
          </p:cNvCxnSpPr>
          <p:nvPr/>
        </p:nvCxnSpPr>
        <p:spPr>
          <a:xfrm>
            <a:off x="3016356" y="2217682"/>
            <a:ext cx="3433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Rechteck: abgerundete Ecken 10">
                <a:extLst>
                  <a:ext uri="{FF2B5EF4-FFF2-40B4-BE49-F238E27FC236}">
                    <a16:creationId xmlns:a16="http://schemas.microsoft.com/office/drawing/2014/main" id="{FFEB050B-447F-6C61-BF01-C2D855D3A81C}"/>
                  </a:ext>
                </a:extLst>
              </p:cNvPr>
              <p:cNvSpPr/>
              <p:nvPr/>
            </p:nvSpPr>
            <p:spPr>
              <a:xfrm>
                <a:off x="729606" y="3074389"/>
                <a:ext cx="5726434" cy="3450952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dirty="0"/>
                  <a:t>Differential Equations:</a:t>
                </a:r>
              </a:p>
              <a:p>
                <a:pPr algn="ctr"/>
                <a:endParaRPr lang="de-DE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num>
                        <m:den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 algn="ctr"/>
                <a:endParaRPr lang="de-DE" sz="1600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num>
                        <m:den>
                          <m:r>
                            <a:rPr lang="de-DE" sz="160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num>
                        <m:den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f>
                        <m:f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den>
                      </m:f>
                      <m:r>
                        <a:rPr lang="de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</m:t>
                      </m:r>
                      <m:d>
                        <m:d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𝐼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 algn="ctr"/>
                <a:endParaRPr lang="de-DE" sz="1600" dirty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𝛽</m:t>
                          </m:r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f>
                        <m:f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de-DE" sz="16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num>
                        <m:den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𝐼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d>
                            <m:dPr>
                              <m:ctrlP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−</m:t>
                              </m:r>
                              <m:r>
                                <a:rPr lang="de-DE" sz="16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den>
                      </m:f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𝑆</m:t>
                      </m:r>
                      <m:d>
                        <m:d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𝑣𝑒𝑟𝑖𝑓𝑦</m:t>
                          </m:r>
                        </m:sub>
                      </m:sSub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𝐼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de-DE" sz="16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600" dirty="0"/>
              </a:p>
              <a:p>
                <a:pPr algn="ctr"/>
                <a:endParaRPr lang="de-DE" sz="1600" dirty="0"/>
              </a:p>
              <a:p>
                <a:pPr algn="ctr"/>
                <a:r>
                  <a:rPr lang="de-DE" sz="1600" dirty="0">
                    <a:sym typeface="Wingdings" panose="05000000000000000000" pitchFamily="2" charset="2"/>
                  </a:rPr>
                  <a:t> </a:t>
                </a:r>
                <a:r>
                  <a:rPr lang="de-DE" sz="1600" dirty="0" err="1">
                    <a:sym typeface="Wingdings" panose="05000000000000000000" pitchFamily="2" charset="2"/>
                  </a:rPr>
                  <a:t>Solve</a:t>
                </a:r>
                <a:r>
                  <a:rPr lang="de-DE" sz="1600" dirty="0">
                    <a:sym typeface="Wingdings" panose="05000000000000000000" pitchFamily="2" charset="2"/>
                  </a:rPr>
                  <a:t> </a:t>
                </a:r>
                <a:r>
                  <a:rPr lang="de-DE" sz="1600" dirty="0" err="1">
                    <a:sym typeface="Wingdings" panose="05000000000000000000" pitchFamily="2" charset="2"/>
                  </a:rPr>
                  <a:t>for</a:t>
                </a:r>
                <a:r>
                  <a:rPr lang="de-DE" sz="1600" dirty="0">
                    <a:sym typeface="Wingdings" panose="05000000000000000000" pitchFamily="2" charset="2"/>
                  </a:rPr>
                  <a:t>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α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𝛽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𝑝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𝑣𝑒𝑟𝑖𝑓𝑦</m:t>
                        </m:r>
                      </m:sub>
                    </m:sSub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𝑘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𝑁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𝐼</m:t>
                    </m:r>
                    <m:d>
                      <m:d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d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0</m:t>
                        </m:r>
                      </m:e>
                    </m:d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𝑅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(0)</m:t>
                    </m:r>
                  </m:oMath>
                </a14:m>
                <a:endParaRPr lang="de-DE" sz="1600" dirty="0"/>
              </a:p>
              <a:p>
                <a:pPr algn="ctr"/>
                <a:endParaRPr lang="de-DE" dirty="0"/>
              </a:p>
            </p:txBody>
          </p:sp>
        </mc:Choice>
        <mc:Fallback>
          <p:sp>
            <p:nvSpPr>
              <p:cNvPr id="11" name="Rechteck: abgerundete Ecken 10">
                <a:extLst>
                  <a:ext uri="{FF2B5EF4-FFF2-40B4-BE49-F238E27FC236}">
                    <a16:creationId xmlns:a16="http://schemas.microsoft.com/office/drawing/2014/main" id="{FFEB050B-447F-6C61-BF01-C2D855D3A81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9606" y="3074389"/>
                <a:ext cx="5726434" cy="3450952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3" name="Grafik 12" descr="Ein Bild, das Text, Diagramm, Reihe, Steigung enthält.&#10;&#10;Automatisch generierte Beschreibung">
            <a:extLst>
              <a:ext uri="{FF2B5EF4-FFF2-40B4-BE49-F238E27FC236}">
                <a16:creationId xmlns:a16="http://schemas.microsoft.com/office/drawing/2014/main" id="{AFB44CE1-7793-FCB6-BBBD-6CBDF7DFE00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97" t="9599" r="8041"/>
          <a:stretch/>
        </p:blipFill>
        <p:spPr>
          <a:xfrm>
            <a:off x="6744072" y="3024248"/>
            <a:ext cx="4718322" cy="3538668"/>
          </a:xfrm>
          <a:prstGeom prst="rect">
            <a:avLst/>
          </a:prstGeom>
        </p:spPr>
      </p:pic>
      <p:cxnSp>
        <p:nvCxnSpPr>
          <p:cNvPr id="17" name="Verbinder: gewinkelt 16">
            <a:extLst>
              <a:ext uri="{FF2B5EF4-FFF2-40B4-BE49-F238E27FC236}">
                <a16:creationId xmlns:a16="http://schemas.microsoft.com/office/drawing/2014/main" id="{0515DE2D-36FB-5C96-3E70-E306D7ECC8E8}"/>
              </a:ext>
            </a:extLst>
          </p:cNvPr>
          <p:cNvCxnSpPr>
            <a:stCxn id="6" idx="2"/>
            <a:endCxn id="5" idx="2"/>
          </p:cNvCxnSpPr>
          <p:nvPr/>
        </p:nvCxnSpPr>
        <p:spPr>
          <a:xfrm rot="5400000">
            <a:off x="8487393" y="1263560"/>
            <a:ext cx="12700" cy="2871970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Verbinder: gewinkelt 20">
            <a:extLst>
              <a:ext uri="{FF2B5EF4-FFF2-40B4-BE49-F238E27FC236}">
                <a16:creationId xmlns:a16="http://schemas.microsoft.com/office/drawing/2014/main" id="{37E28C6A-48A7-2F6C-8F98-BEE0FC8F9118}"/>
              </a:ext>
            </a:extLst>
          </p:cNvPr>
          <p:cNvCxnSpPr>
            <a:stCxn id="5" idx="0"/>
            <a:endCxn id="6" idx="0"/>
          </p:cNvCxnSpPr>
          <p:nvPr/>
        </p:nvCxnSpPr>
        <p:spPr>
          <a:xfrm rot="5400000" flipH="1" flipV="1">
            <a:off x="8487393" y="299834"/>
            <a:ext cx="12700" cy="2871970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67035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itemno&quot; type=&quot;autoshape&quot; autoShapeType=&quot;1&quot; indent=&quot;(level-1)*(itemSingleHeight+topicLeftSpacing)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/element&gt;&lt;element field=&quot;freecolumn&quot; type=&quot;autoshape&quot; autoShapeType=&quot;1&quot; indent=&quot;(level-1)*(itemSingleHeight+topicLeftSpacing)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+topicLeftSpacing)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(itemSingleHeight+topicLeftSpacing)&quot; top=&quot;0&quot; width=&quot;agendaWidth-topicLeftSpacing-itemNoWidth-(level-1)*(itemSingleHeight+topicLeftSpacing)&quot; height=&quot;itemHeight&quot; /&gt;&lt;fill foreColor=&quot;#D9D9D9&quot; visible=&quot;1&quot; /&gt;&lt;/element&gt;&lt;element field=&quot;topic&quot; type=&quot;autoshape&quot; autoShapeType=&quot;1&quot; indent=&quot;(level-1)*(itemSingleHeight+topicLeftSpacing)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(itemSingleHeight+topicLeftSpacing)&quot; indentType=&quot;1&quot;&gt;&lt;paragraphformat alignment=&quot;1&quot; /&gt;&lt;font italic=&quot;1&quot; /&gt;&lt;/element&gt;&lt;element field=&quot;freecolumn&quot; type=&quot;autoshape&quot; autoShapeType=&quot;1&quot; indent=&quot;(level-1)*(itemSingleHeight+topicLeftSpacing)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0&quot; createSeparatingSlides=&quot;0&quot; createBackupSlide=&quot;0&quot; layoutId=&quot;1_1&quot; createSections=&quot;0&quot; singleSlideId=&quot;&quot; backupSlideId=&quot;&quot; hideSeparatingSlides=&quot;0&quot;&gt;&lt;columns leftSpacing=&quot;0&quot; rightSpacing=&quot;0&quot;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434.089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 /&gt;&lt;/agenda&gt;&lt;/contents&gt;&lt;/ee4p&gt;"/>
</p:tagLst>
</file>

<file path=ppt/theme/theme1.xml><?xml version="1.0" encoding="utf-8"?>
<a:theme xmlns:a="http://schemas.openxmlformats.org/drawingml/2006/main" name="Präsentationsvorlage_BWL9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877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84</Words>
  <Application>Microsoft Office PowerPoint</Application>
  <PresentationFormat>Breitbild</PresentationFormat>
  <Paragraphs>278</Paragraphs>
  <Slides>20</Slides>
  <Notes>12</Notes>
  <HiddenSlides>2</HiddenSlides>
  <MMClips>1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8" baseType="lpstr">
      <vt:lpstr>Bitstream Charter</vt:lpstr>
      <vt:lpstr>Charter</vt:lpstr>
      <vt:lpstr>Stafford</vt:lpstr>
      <vt:lpstr>Arial</vt:lpstr>
      <vt:lpstr>Cambria Math</vt:lpstr>
      <vt:lpstr>Tahoma</vt:lpstr>
      <vt:lpstr>Wingdings</vt:lpstr>
      <vt:lpstr>Präsentationsvorlage_BWL9</vt:lpstr>
      <vt:lpstr>Modelling and Analysis of Human Behavior Impacts on Energy Systems during Crisis Events</vt:lpstr>
      <vt:lpstr>Panic Buying and Overconsumption became a very prominent topic during the COVID-19 Pandemic</vt:lpstr>
      <vt:lpstr>Could Social Media affect Power Demand?</vt:lpstr>
      <vt:lpstr>Some example Scenarios for changes in Electricity Consumption lead by Social Media</vt:lpstr>
      <vt:lpstr>Idea: Analyze the Effects of Information Flow on the Power Grid</vt:lpstr>
      <vt:lpstr>The Social Media Network Graph is modelled via Random Graph Algorithms</vt:lpstr>
      <vt:lpstr>Formulas of the SIR model</vt:lpstr>
      <vt:lpstr>Simulation Rules to analyze the Effects on the Power Grid</vt:lpstr>
      <vt:lpstr>Social Media Data can be used to estimate Simulation Parameters</vt:lpstr>
      <vt:lpstr>Proposal for a Prediction Framework</vt:lpstr>
      <vt:lpstr> Case Studies </vt:lpstr>
      <vt:lpstr>Scenario 1: Demand Response Scenario </vt:lpstr>
      <vt:lpstr>Scenario 1: Demand Response Scenario </vt:lpstr>
      <vt:lpstr>Scenario 2: “Disconnect” Scenario</vt:lpstr>
      <vt:lpstr>Scenario 2: “Disconnect” Scenario</vt:lpstr>
      <vt:lpstr>Scenario 2: Wildfire Scenario</vt:lpstr>
      <vt:lpstr>Scenario 2: Wildfire Scenario</vt:lpstr>
      <vt:lpstr>Scenario 2: Wildfire Scenario: change the adoption rate</vt:lpstr>
      <vt:lpstr>Conclusion</vt:lpstr>
      <vt:lpstr> Questions?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oritz Lohse</dc:creator>
  <cp:lastModifiedBy>Isabella Nunes Grieser</cp:lastModifiedBy>
  <cp:revision>861</cp:revision>
  <cp:lastPrinted>2015-03-31T13:31:38Z</cp:lastPrinted>
  <dcterms:created xsi:type="dcterms:W3CDTF">2009-12-23T09:42:49Z</dcterms:created>
  <dcterms:modified xsi:type="dcterms:W3CDTF">2023-10-20T10:17:43Z</dcterms:modified>
</cp:coreProperties>
</file>